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74" d="100"/>
          <a:sy n="74" d="100"/>
        </p:scale>
        <p:origin x="54" y="57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84EB448A-C19C-408F-B675-2978434033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70FE742A-D78C-4663-BC6C-AD7EB04E05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C1D56B2A-A3BD-4EBC-ACCB-C4BF8BB8F5A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7BAE847E-4BFC-4951-B148-0DED1EBD65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35</c:v>
                </c:pt>
                <c:pt idx="1">
                  <c:v>0.35</c:v>
                </c:pt>
                <c:pt idx="2">
                  <c:v>0.25</c:v>
                </c:pt>
                <c:pt idx="3">
                  <c:v>0.0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35%</c:v>
                  </c:pt>
                  <c:pt idx="1">
                    <c:v>35%</c:v>
                  </c:pt>
                  <c:pt idx="2">
                    <c:v>25%</c:v>
                  </c:pt>
                  <c:pt idx="3">
                    <c:v>5%</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E879DF3-A44D-4280-A43B-C017C728AC8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DE5A340A-88E0-4003-8D5E-4A169100E1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AD858CB1-4064-45AE-A61F-E05537D65DC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27FB5257-1339-45DA-9863-3653943060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2</c:v>
                </c:pt>
                <c:pt idx="1">
                  <c:v>0.22</c:v>
                </c:pt>
                <c:pt idx="2">
                  <c:v>0.54</c:v>
                </c:pt>
                <c:pt idx="3">
                  <c:v>0.2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2%</c:v>
                  </c:pt>
                  <c:pt idx="1">
                    <c:v>22%</c:v>
                  </c:pt>
                  <c:pt idx="2">
                    <c:v>54%</c:v>
                  </c:pt>
                  <c:pt idx="3">
                    <c:v>22%</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6</c:v>
                </c:pt>
                <c:pt idx="1">
                  <c:v>0.81</c:v>
                </c:pt>
                <c:pt idx="2">
                  <c:v>0.81</c:v>
                </c:pt>
                <c:pt idx="3">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EB2B513D-6710-4685-9334-FD4752E366E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F1D71EB3-F6B7-4044-A4F4-1298813780F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249638F7-D899-4E7F-8C40-42D820BEB57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4</c:v>
                </c:pt>
                <c:pt idx="1">
                  <c:v>0.19</c:v>
                </c:pt>
                <c:pt idx="2">
                  <c:v>0.19</c:v>
                </c:pt>
                <c:pt idx="3">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76%</c:v>
                  </c:pt>
                  <c:pt idx="1">
                    <c:v>81%</c:v>
                  </c:pt>
                  <c:pt idx="2">
                    <c:v>81%</c:v>
                  </c:pt>
                  <c:pt idx="3">
                    <c:v>87%</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77</c:v>
                </c:pt>
                <c:pt idx="2">
                  <c:v>0.71</c:v>
                </c:pt>
                <c:pt idx="3">
                  <c:v>0.81</c:v>
                </c:pt>
                <c:pt idx="4">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1E029E4B-E335-4AD6-85E1-0C57B284107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76DD5EE4-F656-407C-A6B7-BA09EDFCB83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A122A65E-CC88-4F13-8049-E9A6CC1AA8B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421E6336-01FE-4CAC-BAD9-BE66376A35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23</c:v>
                </c:pt>
                <c:pt idx="2">
                  <c:v>0.28999999999999998</c:v>
                </c:pt>
                <c:pt idx="3">
                  <c:v>0.19</c:v>
                </c:pt>
                <c:pt idx="4">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77%</c:v>
                  </c:pt>
                  <c:pt idx="2">
                    <c:v>71%</c:v>
                  </c:pt>
                  <c:pt idx="3">
                    <c:v>81%</c:v>
                  </c:pt>
                  <c:pt idx="4">
                    <c:v>85%</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c:v>
                </c:pt>
                <c:pt idx="1">
                  <c:v>0.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BA2DB99A-9163-48C2-B1D5-8A93DB6640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672555FD-B5C6-49D8-924B-718958EBEC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AC27AE2C-1CA7-407A-8DF0-97841BBE712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138A1D15-81F6-4F1F-8B96-36ADFB9C3F7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c:v>
                </c:pt>
                <c:pt idx="1">
                  <c:v>0.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0%</c:v>
                  </c:pt>
                  <c:pt idx="1">
                    <c:v>80%</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7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641A2BCE-59AC-46C4-949E-83CD7492846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82421F7C-D727-4BDC-8056-9A00B1E0911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2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79%</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3%</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2</c:v>
                </c:pt>
                <c:pt idx="1">
                  <c:v>0.84</c:v>
                </c:pt>
                <c:pt idx="2">
                  <c:v>0.86</c:v>
                </c:pt>
                <c:pt idx="3">
                  <c:v>0.75</c:v>
                </c:pt>
                <c:pt idx="4">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F27FD1B0-2BEC-4C3B-B752-D9092ADD2BB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F1AC29A2-A3A7-48A1-A39C-90555D15551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EDB43CBB-2F89-4745-96DE-3B731D0601A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CAA29ED0-A744-42EC-A4CF-A454316349D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8</c:v>
                </c:pt>
                <c:pt idx="1">
                  <c:v>0.16</c:v>
                </c:pt>
                <c:pt idx="2">
                  <c:v>0.14000000000000001</c:v>
                </c:pt>
                <c:pt idx="3">
                  <c:v>0.25</c:v>
                </c:pt>
                <c:pt idx="4">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84%</c:v>
                  </c:pt>
                  <c:pt idx="2">
                    <c:v>86%</c:v>
                  </c:pt>
                  <c:pt idx="3">
                    <c:v>75%</c:v>
                  </c:pt>
                  <c:pt idx="4">
                    <c:v>89%</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1</c:v>
                </c:pt>
                <c:pt idx="2">
                  <c:v>0.84</c:v>
                </c:pt>
                <c:pt idx="3">
                  <c:v>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D8526020-E757-4805-81A6-8ECEA13270B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DD5F87F2-C223-4A7B-ACD8-095D6333D2A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4155DB35-5B28-4932-B89C-5D350BA590E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9</c:v>
                </c:pt>
                <c:pt idx="2">
                  <c:v>0.16</c:v>
                </c:pt>
                <c:pt idx="3">
                  <c:v>0.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1%</c:v>
                  </c:pt>
                  <c:pt idx="2">
                    <c:v>84%</c:v>
                  </c:pt>
                  <c:pt idx="3">
                    <c:v>80%</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c:v>
                </c:pt>
                <c:pt idx="1">
                  <c:v>0.95</c:v>
                </c:pt>
                <c:pt idx="2">
                  <c:v>0.79</c:v>
                </c:pt>
                <c:pt idx="3">
                  <c:v>0.92</c:v>
                </c:pt>
                <c:pt idx="4">
                  <c:v>0.9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9919D5B0-4A2A-4CE7-9C5F-9ADABAE15EC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56C91114-250A-4849-B90A-45C87186EC6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8EC974F2-944D-4231-8E7F-07780B89387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0C68933C-DDAD-4CF1-B174-510BD6BF62B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c:v>
                </c:pt>
                <c:pt idx="1">
                  <c:v>0.05</c:v>
                </c:pt>
                <c:pt idx="2">
                  <c:v>0.21</c:v>
                </c:pt>
                <c:pt idx="3">
                  <c:v>0.08</c:v>
                </c:pt>
                <c:pt idx="4">
                  <c:v>0.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0%</c:v>
                  </c:pt>
                  <c:pt idx="1">
                    <c:v>95%</c:v>
                  </c:pt>
                  <c:pt idx="2">
                    <c:v>79%</c:v>
                  </c:pt>
                  <c:pt idx="3">
                    <c:v>92%</c:v>
                  </c:pt>
                  <c:pt idx="4">
                    <c:v>91%</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4</c:v>
                </c:pt>
                <c:pt idx="1">
                  <c:v>0.8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E1E6777C-C62B-4B07-8D69-135070B42CB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03F1C567-4E7C-4050-82C4-158735E1855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9806D3D6-F0F4-4522-8725-A9D4E5A78FE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43BFDE16-D9E7-44FA-AA7B-FDA7AE656C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6</c:v>
                </c:pt>
                <c:pt idx="1">
                  <c:v>0.1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82%</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3</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0EBB8EEC-D607-4B14-8B1C-98E0D06ACA5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7CB90484-2327-4005-9BB5-A781C4BF2E2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7</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3%</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5</c:v>
                </c:pt>
                <c:pt idx="1">
                  <c:v>83</c:v>
                </c:pt>
                <c:pt idx="2">
                  <c:v>3</c:v>
                </c:pt>
                <c:pt idx="3">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4</c:v>
                </c:pt>
                <c:pt idx="1">
                  <c:v>4</c:v>
                </c:pt>
                <c:pt idx="2">
                  <c:v>1</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F2098810-F77C-4C82-9ED9-AA4570CA8C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829D7A3D-578C-416C-A1EE-A5EBBB452F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3770830C-FF36-478C-A62A-DDE44351FB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23EEF2D1-2F26-41A1-A271-436C8FCFD9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30D8422E-DE84-48E9-A4BC-0D72AFDFF3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0C9C6CA4-5834-4489-ACD8-B63185CBD6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5</c:v>
                </c:pt>
                <c:pt idx="1">
                  <c:v>6</c:v>
                </c:pt>
                <c:pt idx="2">
                  <c:v>3</c:v>
                </c:pt>
                <c:pt idx="3">
                  <c:v>2</c:v>
                </c:pt>
                <c:pt idx="4">
                  <c:v>3</c:v>
                </c:pt>
                <c:pt idx="5">
                  <c:v>2</c:v>
                </c:pt>
                <c:pt idx="6">
                  <c:v>3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5%</c:v>
                  </c:pt>
                  <c:pt idx="1">
                    <c:v>6%</c:v>
                  </c:pt>
                  <c:pt idx="2">
                    <c:v>3%</c:v>
                  </c:pt>
                  <c:pt idx="3">
                    <c:v>2%</c:v>
                  </c:pt>
                  <c:pt idx="4">
                    <c:v>3%</c:v>
                  </c:pt>
                  <c:pt idx="5">
                    <c:v>2%</c:v>
                  </c:pt>
                  <c:pt idx="6">
                    <c:v>36%</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89FDA3B3-CD33-4155-A9EA-F0A022FA44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31647760-89CC-45A1-975D-0DB6B9D5FC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904C28CF-2AFF-4AAC-8151-F4E93637C1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8B43BEA5-E171-4A3A-BFCB-559DBFE360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r>
                      <a:rPr lang="en-GB"/>
                      <a:t>1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05C-4A2F-9A88-03A72AE7F3F6}"/>
                </c:ext>
              </c:extLst>
            </c:dLbl>
            <c:dLbl>
              <c:idx val="6"/>
              <c:tx>
                <c:rich>
                  <a:bodyPr/>
                  <a:lstStyle/>
                  <a:p>
                    <a:fld id="{67C157F4-664C-40BD-AB6B-BF8C6E73E1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8</c:v>
                </c:pt>
                <c:pt idx="2">
                  <c:v>2</c:v>
                </c:pt>
                <c:pt idx="3">
                  <c:v>4</c:v>
                </c:pt>
                <c:pt idx="4">
                  <c:v>11</c:v>
                </c:pt>
                <c:pt idx="5">
                  <c:v>10</c:v>
                </c:pt>
                <c:pt idx="6">
                  <c:v>3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4%</c:v>
                  </c:pt>
                  <c:pt idx="1">
                    <c:v>8%</c:v>
                  </c:pt>
                  <c:pt idx="2">
                    <c:v>2%</c:v>
                  </c:pt>
                  <c:pt idx="3">
                    <c:v>4%</c:v>
                  </c:pt>
                  <c:pt idx="4">
                    <c:v>11%</c:v>
                  </c:pt>
                  <c:pt idx="5">
                    <c:v>10%p</c:v>
                  </c:pt>
                  <c:pt idx="6">
                    <c:v>30%</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6B0CBE64-D0FD-4AB6-A449-1F4B3FEEAD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4255A693-5468-4745-888B-C35DC36BD9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E3C63F87-7ED4-4B34-A7DC-5836EEB8C1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57FCCF9D-1155-4EB0-BD14-33C8048B85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4</c:v>
                </c:pt>
                <c:pt idx="1">
                  <c:v>8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4%</c:v>
                  </c:pt>
                  <c:pt idx="1">
                    <c:v>86%</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B4F7FD01-FB92-4F63-8F0F-746D463FF1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4F3D7A61-98B2-4010-B228-8F0FCEBB03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5</c:v>
                </c:pt>
                <c:pt idx="1">
                  <c:v>8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5%</c:v>
                  </c:pt>
                  <c:pt idx="1">
                    <c:v>85%</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97E4CF69-B9EE-43F9-9F08-DBF8CC02161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B316D26D-A1D5-4055-B8D8-F5BE987351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BE0A7A44-8F12-4EB7-97B1-F4C018BAC0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92847A80-9415-411A-9E77-A68CF54228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BA91B7B7-5EE1-4245-8A6C-BE6352EBE1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7999999999999996</c:v>
                </c:pt>
                <c:pt idx="1">
                  <c:v>0.42</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8%</c:v>
                  </c:pt>
                  <c:pt idx="1">
                    <c:v>42%</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BCF7EED7-7378-4009-8189-A656018BFA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77125A66-46F7-4115-91C0-41FFED16D5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0E26CE3C-A55B-4B44-8B29-99A391CBBB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F9026D5A-530B-4A17-988D-B51515CDE7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FC7056A2-BA94-4D98-A866-87FC043EE9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5000000000000004</c:v>
                </c:pt>
                <c:pt idx="1">
                  <c:v>0.44</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5%</c:v>
                  </c:pt>
                  <c:pt idx="1">
                    <c:v>44%</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10CA1FFC-7233-475F-AFC8-93241D9F4F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2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1819-49AB-9068-B304DBA3CCB4}"/>
                </c:ext>
              </c:extLst>
            </c:dLbl>
            <c:dLbl>
              <c:idx val="1"/>
              <c:tx>
                <c:rich>
                  <a:bodyPr/>
                  <a:lstStyle/>
                  <a:p>
                    <a:r>
                      <a:rPr lang="en-GB"/>
                      <a:t>7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6</c:v>
                </c:pt>
                <c:pt idx="1">
                  <c:v>7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6%p</c:v>
                  </c:pt>
                  <c:pt idx="1">
                    <c:v>74%q</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C4FCCBC8-F508-40A5-A742-1EF58014F8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C1E26861-1C96-48B7-813E-57EA4A6139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c:v>
                  </c:pt>
                  <c:pt idx="1">
                    <c:v>96%</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1033BF0B-86A5-476D-B201-15B621A072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8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1%p</c:v>
                  </c:pt>
                  <c:pt idx="1">
                    <c:v>89%q</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7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r>
                      <a:rPr lang="en-GB"/>
                      <a:t>8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3EB-456C-B74D-581899DAC290}"/>
                </c:ext>
              </c:extLst>
            </c:dLbl>
            <c:dLbl>
              <c:idx val="2"/>
              <c:tx>
                <c:rich>
                  <a:bodyPr/>
                  <a:lstStyle/>
                  <a:p>
                    <a:r>
                      <a:rPr lang="en-GB"/>
                      <a:t>7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r>
                      <a:rPr lang="en-GB"/>
                      <a:t>6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r>
                      <a:rPr lang="en-GB"/>
                      <a:t>8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fld id="{F3C3E224-BF51-48A3-8E52-DCBF5618E8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7F676D11-8BF9-4142-ABBF-210DD425A8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2</c:v>
                </c:pt>
                <c:pt idx="1">
                  <c:v>86</c:v>
                </c:pt>
                <c:pt idx="2">
                  <c:v>76</c:v>
                </c:pt>
                <c:pt idx="3">
                  <c:v>67</c:v>
                </c:pt>
                <c:pt idx="4">
                  <c:v>89</c:v>
                </c:pt>
                <c:pt idx="5">
                  <c:v>30</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2%q</c:v>
                  </c:pt>
                  <c:pt idx="1">
                    <c:v>86%q</c:v>
                  </c:pt>
                  <c:pt idx="2">
                    <c:v>76%q</c:v>
                  </c:pt>
                  <c:pt idx="3">
                    <c:v>67%q</c:v>
                  </c:pt>
                  <c:pt idx="4">
                    <c:v>89%q</c:v>
                  </c:pt>
                  <c:pt idx="5">
                    <c:v>30%</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55D509E0-8062-48FF-A9B5-CA7E2A39E7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55C1DB62-59B9-43CE-87FE-ED5FB25EFE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6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785310B7-C806-4591-844A-A938258384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1F4F1100-802D-4D28-9459-AA17FC8854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9D9C6F60-AC46-47D0-8B19-304AE2F809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ED824EEA-8E6D-479E-8D2F-51F3848D17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86</c:v>
                </c:pt>
                <c:pt idx="2">
                  <c:v>63</c:v>
                </c:pt>
                <c:pt idx="3">
                  <c:v>70</c:v>
                </c:pt>
                <c:pt idx="4">
                  <c:v>87</c:v>
                </c:pt>
                <c:pt idx="5">
                  <c:v>39</c:v>
                </c:pt>
                <c:pt idx="6">
                  <c:v>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0%</c:v>
                  </c:pt>
                  <c:pt idx="1">
                    <c:v>86%</c:v>
                  </c:pt>
                  <c:pt idx="2">
                    <c:v>63%q</c:v>
                  </c:pt>
                  <c:pt idx="3">
                    <c:v>70%</c:v>
                  </c:pt>
                  <c:pt idx="4">
                    <c:v>87%</c:v>
                  </c:pt>
                  <c:pt idx="5">
                    <c:v>39%</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9</c:v>
                </c:pt>
                <c:pt idx="1">
                  <c:v>33</c:v>
                </c:pt>
                <c:pt idx="2">
                  <c:v>14</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4</c:v>
                </c:pt>
                <c:pt idx="1">
                  <c:v>32</c:v>
                </c:pt>
                <c:pt idx="2">
                  <c:v>13</c:v>
                </c:pt>
                <c:pt idx="3">
                  <c:v>9</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1B0ABBA2-E3F0-48A6-B6DE-D02B5734C4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8D4D54DB-A985-4C63-B795-70CC16584E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CBB585E9-604D-4445-8E71-721918E6FB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8%</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61807F7E-3B1E-4CA8-9CDD-EF1536991F9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56EB3D03-94BE-4DA0-9AA9-ECBFAFD746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E628BA6A-D4D1-42B9-911C-73B199AF66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7</c:v>
                </c:pt>
                <c:pt idx="1">
                  <c:v>0</c:v>
                </c:pt>
                <c:pt idx="2">
                  <c:v>0.0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7%</c:v>
                  </c:pt>
                  <c:pt idx="1">
                    <c:v>-</c:v>
                  </c:pt>
                  <c:pt idx="2">
                    <c:v>2%</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13</c:v>
                </c:pt>
                <c:pt idx="1">
                  <c:v>17</c:v>
                </c:pt>
                <c:pt idx="2">
                  <c:v>6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6</c:v>
                </c:pt>
                <c:pt idx="1">
                  <c:v>39</c:v>
                </c:pt>
                <c:pt idx="2">
                  <c:v>5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17</c:v>
                </c:pt>
                <c:pt idx="2">
                  <c:v>28</c:v>
                </c:pt>
                <c:pt idx="3">
                  <c:v>14</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0</c:v>
                </c:pt>
                <c:pt idx="1">
                  <c:v>24</c:v>
                </c:pt>
                <c:pt idx="2">
                  <c:v>17</c:v>
                </c:pt>
                <c:pt idx="3">
                  <c:v>20</c:v>
                </c:pt>
                <c:pt idx="4">
                  <c:v>1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83</c:v>
                </c:pt>
                <c:pt idx="1">
                  <c:v>0.29499999999999998</c:v>
                </c:pt>
                <c:pt idx="2">
                  <c:v>0.17699999999999999</c:v>
                </c:pt>
                <c:pt idx="3">
                  <c:v>0.248</c:v>
                </c:pt>
                <c:pt idx="4">
                  <c:v>9.6000000000000002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27200000000000002</c:v>
                </c:pt>
                <c:pt idx="1">
                  <c:v>0.308</c:v>
                </c:pt>
                <c:pt idx="2">
                  <c:v>0.20699999999999999</c:v>
                </c:pt>
                <c:pt idx="3">
                  <c:v>0.14799999999999999</c:v>
                </c:pt>
                <c:pt idx="4">
                  <c:v>6.5000000000000002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3</c:v>
                </c:pt>
                <c:pt idx="2">
                  <c:v>27</c:v>
                </c:pt>
                <c:pt idx="3">
                  <c:v>20</c:v>
                </c:pt>
                <c:pt idx="4">
                  <c:v>2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8</c:v>
                </c:pt>
                <c:pt idx="2">
                  <c:v>15</c:v>
                </c:pt>
                <c:pt idx="3">
                  <c:v>22</c:v>
                </c:pt>
                <c:pt idx="4">
                  <c:v>3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23</c:v>
                </c:pt>
                <c:pt idx="1">
                  <c:v>24</c:v>
                </c:pt>
                <c:pt idx="2">
                  <c:v>25</c:v>
                </c:pt>
                <c:pt idx="3">
                  <c:v>15</c:v>
                </c:pt>
                <c:pt idx="4">
                  <c:v>1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9</c:v>
                </c:pt>
                <c:pt idx="1">
                  <c:v>28</c:v>
                </c:pt>
                <c:pt idx="2">
                  <c:v>16</c:v>
                </c:pt>
                <c:pt idx="3">
                  <c:v>12</c:v>
                </c:pt>
                <c:pt idx="4">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879BEAE2-48F8-4511-AC5A-52453EFF6E0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43EFE3DE-B3A3-4B99-B4EF-CC4118253D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EEEFCABC-7EA5-4290-AFE6-7CA9EDC664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78A84451-360A-4394-BD9F-07366E372E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21D53978-2A84-4AC4-B465-78B648D9B0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c:v>
                </c:pt>
                <c:pt idx="1">
                  <c:v>0.06</c:v>
                </c:pt>
                <c:pt idx="2">
                  <c:v>0.09</c:v>
                </c:pt>
                <c:pt idx="3">
                  <c:v>0.11</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70%</c:v>
                  </c:pt>
                  <c:pt idx="1">
                    <c:v>6%</c:v>
                  </c:pt>
                  <c:pt idx="2">
                    <c:v>9%</c:v>
                  </c:pt>
                  <c:pt idx="3">
                    <c:v>11%</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B182D04E-7B24-4A1B-AD7C-49D46A48D20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C0A75B42-EB36-4540-A631-41126856C4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502B2EF1-B552-4AFE-9C2B-0032052834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2A39F516-6908-42DE-BA05-1C8F12F702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7D142447-7C75-4872-9BB5-55C15A6B7D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44</c:v>
                </c:pt>
                <c:pt idx="1">
                  <c:v>0.02</c:v>
                </c:pt>
                <c:pt idx="2">
                  <c:v>0.28000000000000003</c:v>
                </c:pt>
                <c:pt idx="3">
                  <c:v>0.19</c:v>
                </c:pt>
                <c:pt idx="4">
                  <c:v>0.0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44%</c:v>
                  </c:pt>
                  <c:pt idx="1">
                    <c:v>2%</c:v>
                  </c:pt>
                  <c:pt idx="2">
                    <c:v>28%</c:v>
                  </c:pt>
                  <c:pt idx="3">
                    <c:v>19%</c:v>
                  </c:pt>
                  <c:pt idx="4">
                    <c:v>5%</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0</c:v>
                </c:pt>
                <c:pt idx="2">
                  <c:v>28</c:v>
                </c:pt>
                <c:pt idx="3">
                  <c:v>20</c:v>
                </c:pt>
                <c:pt idx="4">
                  <c:v>2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0</c:v>
                </c:pt>
                <c:pt idx="1">
                  <c:v>17</c:v>
                </c:pt>
                <c:pt idx="2">
                  <c:v>22</c:v>
                </c:pt>
                <c:pt idx="3">
                  <c:v>18</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2</c:v>
                </c:pt>
                <c:pt idx="1">
                  <c:v>30</c:v>
                </c:pt>
                <c:pt idx="2">
                  <c:v>38</c:v>
                </c:pt>
                <c:pt idx="3">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9</c:v>
                </c:pt>
                <c:pt idx="1">
                  <c:v>35</c:v>
                </c:pt>
                <c:pt idx="2">
                  <c:v>31</c:v>
                </c:pt>
                <c:pt idx="3">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5</c:v>
                </c:pt>
                <c:pt idx="1">
                  <c:v>30</c:v>
                </c:pt>
                <c:pt idx="2">
                  <c:v>17</c:v>
                </c:pt>
                <c:pt idx="3">
                  <c:v>3</c:v>
                </c:pt>
                <c:pt idx="4">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8</c:v>
                </c:pt>
                <c:pt idx="1">
                  <c:v>24</c:v>
                </c:pt>
                <c:pt idx="2">
                  <c:v>5</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0</c:v>
                </c:pt>
                <c:pt idx="1">
                  <c:v>51</c:v>
                </c:pt>
                <c:pt idx="2">
                  <c:v>15</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6</c:v>
                </c:pt>
                <c:pt idx="1">
                  <c:v>54</c:v>
                </c:pt>
                <c:pt idx="2">
                  <c:v>16</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20477034-3AF8-416A-98D7-CFA8D045A8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A2FC0E3D-3A2C-4F7F-9D5A-AC334B427E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1AB86B1D-BFBB-48B2-AE45-CF38DD38D7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2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q</c:v>
                  </c:pt>
                  <c:pt idx="1">
                    <c:v>22%p</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3635FAB5-5DF7-4E2D-825B-5DA3C35744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2%</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CFB6-49AC-A845-714BC7862DE1}"/>
                </c:ext>
              </c:extLst>
            </c:dLbl>
            <c:dLbl>
              <c:idx val="1"/>
              <c:tx>
                <c:rich>
                  <a:bodyPr/>
                  <a:lstStyle/>
                  <a:p>
                    <a:r>
                      <a:rPr lang="en-GB"/>
                      <a:t>4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2</c:v>
                </c:pt>
                <c:pt idx="1">
                  <c:v>4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2%q</c:v>
                  </c:pt>
                  <c:pt idx="1">
                    <c:v>48%p</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0CE3A237-17A1-4A58-9E4D-C124E6A33F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F8E7D2E3-7858-408F-92CF-27D2A979E7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3%</c:v>
                  </c:pt>
                  <c:pt idx="1">
                    <c:v>27%</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C39A551B-2E1E-41B8-B170-AA049D5809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BB200309-7EE9-479E-9FD5-034723263B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8</c:v>
                </c:pt>
                <c:pt idx="1">
                  <c:v>6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8%</c:v>
                  </c:pt>
                  <c:pt idx="1">
                    <c:v>62%</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01F57772-137D-4C1B-A336-23BF56E195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E3B1D9E8-6969-481C-B95B-3678F97ECD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0</c:v>
                </c:pt>
                <c:pt idx="1">
                  <c:v>6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0%</c:v>
                  </c:pt>
                  <c:pt idx="1">
                    <c:v>60%</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F91E0602-B6A6-494C-8E15-C186F8EEDF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C6DED34D-C4C8-46B9-B4FE-E08430299A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6</c:v>
                </c:pt>
                <c:pt idx="1">
                  <c:v>5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6%</c:v>
                  </c:pt>
                  <c:pt idx="1">
                    <c:v>54%</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09570A89-9D50-4543-A9DA-A488C874F6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8407F7BA-5E9F-4777-80D1-45EB1925C5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3</c:v>
                </c:pt>
                <c:pt idx="1">
                  <c:v>6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3%</c:v>
                  </c:pt>
                  <c:pt idx="1">
                    <c:v>67%</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EA643815-5162-47E7-B2DF-B585F92926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58D2B8D8-2388-4D6C-B43E-FA31AE5731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519CC180-8E8B-4312-878B-97CCF8E006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6%</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3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6</c:v>
                </c:pt>
                <c:pt idx="1">
                  <c:v>3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6%q</c:v>
                  </c:pt>
                  <c:pt idx="1">
                    <c:v>34%p</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B46E4F02-6CF8-4B42-B64C-5146F4C17E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B156A23A-8C3A-4855-B6CC-5B10DA2242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1</c:v>
                </c:pt>
                <c:pt idx="1">
                  <c:v>3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1%</c:v>
                  </c:pt>
                  <c:pt idx="1">
                    <c:v>39%</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7520CA76-08D0-43BF-9823-811C43CE9F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31814818-7566-42DB-859E-BF71DE643C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6</c:v>
                </c:pt>
                <c:pt idx="1">
                  <c:v>5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6%</c:v>
                  </c:pt>
                  <c:pt idx="1">
                    <c:v>54%</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7689E047-80AF-43BE-9AEE-BB40F2DF58A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DF284FF1-8F35-4426-B99F-97FE68B1B5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6A39AF79-BC83-494D-B849-31065AD1B6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263ACBC2-D92D-47D2-A77E-6F0B494574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0</c:v>
                </c:pt>
                <c:pt idx="1">
                  <c:v>3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0%</c:v>
                  </c:pt>
                  <c:pt idx="1">
                    <c:v>30%</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2</c:v>
                </c:pt>
                <c:pt idx="1">
                  <c:v>32</c:v>
                </c:pt>
                <c:pt idx="2">
                  <c:v>2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6</c:v>
                </c:pt>
                <c:pt idx="1">
                  <c:v>54</c:v>
                </c:pt>
                <c:pt idx="2">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6EC9A136-3A20-4255-8F38-B6407C8098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9D8A4A0D-3F32-4D16-972D-6A98801BD3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r>
                      <a:rPr lang="en-GB"/>
                      <a:t>2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519-4C1F-9643-9A55D10271AC}"/>
                </c:ext>
              </c:extLst>
            </c:dLbl>
            <c:dLbl>
              <c:idx val="4"/>
              <c:tx>
                <c:rich>
                  <a:bodyPr/>
                  <a:lstStyle/>
                  <a:p>
                    <a:r>
                      <a:rPr lang="en-GB"/>
                      <a:t>2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519-4C1F-9643-9A55D10271AC}"/>
                </c:ext>
              </c:extLst>
            </c:dLbl>
            <c:dLbl>
              <c:idx val="5"/>
              <c:tx>
                <c:rich>
                  <a:bodyPr/>
                  <a:lstStyle/>
                  <a:p>
                    <a:fld id="{68B92339-7D65-47E6-8784-3022DF4792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0ED1BBBE-F931-4036-BD89-E1E8035242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9</c:v>
                </c:pt>
                <c:pt idx="1">
                  <c:v>4</c:v>
                </c:pt>
                <c:pt idx="2">
                  <c:v>66</c:v>
                </c:pt>
                <c:pt idx="3">
                  <c:v>26</c:v>
                </c:pt>
                <c:pt idx="4">
                  <c:v>23</c:v>
                </c:pt>
                <c:pt idx="5">
                  <c:v>18</c:v>
                </c:pt>
                <c:pt idx="6">
                  <c:v>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9%</c:v>
                  </c:pt>
                  <c:pt idx="1">
                    <c:v>4%</c:v>
                  </c:pt>
                  <c:pt idx="2">
                    <c:v>66%</c:v>
                  </c:pt>
                  <c:pt idx="3">
                    <c:v>26%q</c:v>
                  </c:pt>
                  <c:pt idx="4">
                    <c:v>23%p</c:v>
                  </c:pt>
                  <c:pt idx="5">
                    <c:v>18%</c:v>
                  </c:pt>
                  <c:pt idx="6">
                    <c:v>9%</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7B24CA59-65E8-4393-AB9C-C4FBFF7B6D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A458D321-D086-4C0F-9A5F-25A3139BDD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2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DEA61CAE-BEDD-43E5-BB79-0F966FFC10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29B9F1E8-C71D-47B1-8DE0-F655597045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DC5DB1BA-D285-4D5D-B716-DCB2CF195E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1</c:v>
                </c:pt>
                <c:pt idx="1">
                  <c:v>21</c:v>
                </c:pt>
                <c:pt idx="2">
                  <c:v>35</c:v>
                </c:pt>
                <c:pt idx="3">
                  <c:v>29</c:v>
                </c:pt>
                <c:pt idx="4">
                  <c:v>9</c:v>
                </c:pt>
                <c:pt idx="5">
                  <c:v>16</c:v>
                </c:pt>
                <c:pt idx="6">
                  <c:v>1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31%</c:v>
                  </c:pt>
                  <c:pt idx="1">
                    <c:v>21%</c:v>
                  </c:pt>
                  <c:pt idx="2">
                    <c:v>35%</c:v>
                  </c:pt>
                  <c:pt idx="3">
                    <c:v>29%q</c:v>
                  </c:pt>
                  <c:pt idx="4">
                    <c:v>9%</c:v>
                  </c:pt>
                  <c:pt idx="5">
                    <c:v>16%</c:v>
                  </c:pt>
                  <c:pt idx="6">
                    <c:v>11%</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49</c:v>
                </c:pt>
                <c:pt idx="1">
                  <c:v>40</c:v>
                </c:pt>
                <c:pt idx="2">
                  <c:v>10</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5</c:v>
                </c:pt>
                <c:pt idx="1">
                  <c:v>39</c:v>
                </c:pt>
                <c:pt idx="2">
                  <c:v>5</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0%</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8</c:v>
                </c:pt>
                <c:pt idx="1">
                  <c:v>0.79</c:v>
                </c:pt>
                <c:pt idx="2">
                  <c:v>0.73</c:v>
                </c:pt>
                <c:pt idx="3">
                  <c:v>0.81</c:v>
                </c:pt>
                <c:pt idx="4">
                  <c:v>0.7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D5060B7F-3B6C-448A-B5CA-D12967889D5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1084F4B1-6750-4488-AF06-DF81BBA004F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0E37DB2B-3F1B-49A6-8716-D6C572EE4CA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85C5D96B-EAB9-480B-8CE2-FB290121D30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2</c:v>
                </c:pt>
                <c:pt idx="1">
                  <c:v>0.21</c:v>
                </c:pt>
                <c:pt idx="2">
                  <c:v>0.27</c:v>
                </c:pt>
                <c:pt idx="3">
                  <c:v>0.19</c:v>
                </c:pt>
                <c:pt idx="4">
                  <c:v>0.2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8%</c:v>
                  </c:pt>
                  <c:pt idx="1">
                    <c:v>79%</c:v>
                  </c:pt>
                  <c:pt idx="2">
                    <c:v>73%</c:v>
                  </c:pt>
                  <c:pt idx="3">
                    <c:v>81%</c:v>
                  </c:pt>
                  <c:pt idx="4">
                    <c:v>75%</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CENTRAL LONDON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CENTRAL LONDON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CENTRAL LONDON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CENTRAL LONDON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CENTRAL LONDON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NORTH CENTRAL LONDON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02901206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support from other people living with diabetes
Healthcare professionals providing support in taking part in physical activity</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9496463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649936404"/>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00000"/>
                        </a:lnSpc>
                        <a:spcBef>
                          <a:spcPts val="3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Healthcare professionals having a conversation about what would happen next with their diabetes care at the time of diagnosis
Attending an annual review ever
Having a weight and BMI check as part of their last annual review
Having a blood pressure check as part of their last annual review
Having a foot check as part of their last annual review
Having a urine test as part of their last annual review
Having a blood test check as part of their last annual review
Healthcare professionals providing information about the potential complications of living with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87862610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 CENTRAL LOND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60545883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7117814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4% of respondents who were marked as Type 1 in the sample selected ‘Type 1’, 4%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83% of respondents who were marked as Type 2 in the sample selected ‘Type 2’, 5% selected ‘Type 1’, 3% selected ‘Other’ and 9%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59); Type 2, ICS (570)).</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092803233"/>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24359869"/>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742859198"/>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025274029"/>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57418024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79); Type 2, National (19,941), ICS (466))</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56813186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42251180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97); Type 2, National (22,278), ICS (505))</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324007446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417007407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63); Type 2, National (21,082), ICS (484))</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417634976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07680994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61); Type 2, National (24,180), ICS (568))</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827208276"/>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902755354"/>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3098468836"/>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4171229115"/>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427217406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40); Type 2, National (22,482), ICS (507))</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80827660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412963010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85490357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72757806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53254758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19789860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49230249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81135463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23988594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45); Type 2, National (22,670), ICS (51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465950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45466419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26152060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2876990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59125310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398522540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314796843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85391084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402353179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56); Type 2, National (24,076), ICS (569))</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10400035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13852749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227646264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48384818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78929457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40942209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43979285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300784175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60); Type 2, National (24,153), ICS (564))</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69243772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393546119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48721784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43903559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39644535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58026809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07195843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12870631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23544882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56); Type 2, National (24,135), ICS (56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57398953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418310846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60528749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67366500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62047795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08964941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117298456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84530604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419376435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58); Type 2, National (24,084), ICS (56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152680244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79382317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91973857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90544423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80941757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84028054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320476108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317938314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350139921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60); Type 2, National (24,070), ICS (56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62460834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873225422"/>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335471357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2810683433"/>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755232889"/>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8522189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774448097"/>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65849986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46085623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59); Type 2, National (24,260), ICS (56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50400253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76039837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7731036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221759214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78688676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409246728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74983588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162905359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48094631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60); Type 2, National (24,267), ICS (569))</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37041540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341053461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288941305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10273222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58217379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63420326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428536886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35638516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45106603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58); Type 2, National (24,196), ICS (56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67501748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15208536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29085493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58); Type 2, National (24,019), ICS (561))</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16869528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49554658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37); Type 2, National (11,860), ICS (256))</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302502222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30457872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48); Type 2, National (21,228), ICS (512))</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20464756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346414531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36); Type 2, National (20,915), ICS (480))</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28116951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77277869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16); Type 2, National (20,086), ICS (479))</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99888038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42152271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27); Type 2, National (21,890), ICS (514))</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89218275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72668168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403); Type 2, National (18,585), ICS (442))</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98427378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7552401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04155540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05765709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344863756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349476209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84608844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375667558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43); Type 2, National (22,580), ICS (524))</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77994867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136555333"/>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3903419301"/>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590458718"/>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459032459"/>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3551493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54); Type 2, National (12,350), ICS (326))</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16903594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4209087391"/>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50761175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95078857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312457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14794104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82582568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83693002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48); Type 2, National (10,911), ICS (24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40812993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093552819"/>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870737830"/>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258231110"/>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078598168"/>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397111301"/>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266102345"/>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40))</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48136437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710261187"/>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043171634"/>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915491827"/>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862266508"/>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563130452"/>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09))</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NORTH CENTRAL LONDON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221</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36</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2%</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62</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74</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76</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945</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4204386648"/>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285750487"/>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87488726"/>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1103291977"/>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202073821"/>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312811508"/>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3201551278"/>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 CENTRAL LOND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338665965"/>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67039221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34728662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56435552"/>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9</TotalTime>
  <Words>5397</Words>
  <Application>Microsoft Office PowerPoint</Application>
  <PresentationFormat>Widescreen</PresentationFormat>
  <Paragraphs>815</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Roboto</vt:lpstr>
      <vt:lpstr>HelveticaNeueLT Std Lt Cn</vt:lpstr>
      <vt:lpstr>Arial</vt:lpstr>
      <vt:lpstr>Wingdings 3</vt:lpstr>
      <vt:lpstr>Segoe UI</vt:lpstr>
      <vt:lpstr>Arial (Body)</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4</cp:revision>
  <cp:lastPrinted>2024-09-17T13:37:47Z</cp:lastPrinted>
  <dcterms:created xsi:type="dcterms:W3CDTF">2024-06-17T14:42:21Z</dcterms:created>
  <dcterms:modified xsi:type="dcterms:W3CDTF">2024-12-04T10:4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